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444444"/>
    <a:srgbClr val="F6F6F6"/>
    <a:srgbClr val="E5E5E5"/>
    <a:srgbClr val="A8A8A8"/>
    <a:srgbClr val="8D8D8D"/>
    <a:srgbClr val="5A5A5A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F9DE20AF-9121-446B-8DC6-45941BAE5E07}"/>
    <pc:docChg chg="modSld">
      <pc:chgData name="Weigel Stefan (PAR-EPS)" userId="fd3b2067-2981-4ad8-bf3a-d2e1004e4fa8" providerId="ADAL" clId="{F9DE20AF-9121-446B-8DC6-45941BAE5E07}" dt="2024-04-11T14:17:36.679" v="35" actId="27918"/>
      <pc:docMkLst>
        <pc:docMk/>
      </pc:docMkLst>
      <pc:sldChg chg="modSp mod setBg">
        <pc:chgData name="Weigel Stefan (PAR-EPS)" userId="fd3b2067-2981-4ad8-bf3a-d2e1004e4fa8" providerId="ADAL" clId="{F9DE20AF-9121-446B-8DC6-45941BAE5E07}" dt="2024-04-11T14:17:36.679" v="35" actId="27918"/>
        <pc:sldMkLst>
          <pc:docMk/>
          <pc:sldMk cId="204404663" sldId="275"/>
        </pc:sldMkLst>
        <pc:spChg chg="mod">
          <ac:chgData name="Weigel Stefan (PAR-EPS)" userId="fd3b2067-2981-4ad8-bf3a-d2e1004e4fa8" providerId="ADAL" clId="{F9DE20AF-9121-446B-8DC6-45941BAE5E07}" dt="2024-04-11T14:11:10.273" v="5" actId="25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F9DE20AF-9121-446B-8DC6-45941BAE5E07}" dt="2024-04-11T14:11:33.671" v="25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F9DE20AF-9121-446B-8DC6-45941BAE5E07}" dt="2024-04-11T14:14:49.079" v="28" actId="692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PAR-EPS)" userId="fd3b2067-2981-4ad8-bf3a-d2e1004e4fa8" providerId="ADAL" clId="{BBDA2E88-26FD-4AE8-9333-0AD41179265D}"/>
    <pc:docChg chg="modSld">
      <pc:chgData name="Weigel Stefan (PAR-EPS)" userId="fd3b2067-2981-4ad8-bf3a-d2e1004e4fa8" providerId="ADAL" clId="{BBDA2E88-26FD-4AE8-9333-0AD41179265D}" dt="2025-02-22T11:06:04.592" v="41" actId="27918"/>
      <pc:docMkLst>
        <pc:docMk/>
      </pc:docMkLst>
      <pc:sldChg chg="mod">
        <pc:chgData name="Weigel Stefan (PAR-EPS)" userId="fd3b2067-2981-4ad8-bf3a-d2e1004e4fa8" providerId="ADAL" clId="{BBDA2E88-26FD-4AE8-9333-0AD41179265D}" dt="2025-02-22T11:06:04.592" v="41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5457B722-58F4-4714-9FE2-45ED53C80D84}"/>
    <pc:docChg chg="modSld">
      <pc:chgData name="Weigel Stefan (PAR-EPS)" userId="fd3b2067-2981-4ad8-bf3a-d2e1004e4fa8" providerId="ADAL" clId="{5457B722-58F4-4714-9FE2-45ED53C80D84}" dt="2024-02-28T14:12:38.375" v="29" actId="1036"/>
      <pc:docMkLst>
        <pc:docMk/>
      </pc:docMkLst>
      <pc:sldChg chg="modSp mod">
        <pc:chgData name="Weigel Stefan (PAR-EPS)" userId="fd3b2067-2981-4ad8-bf3a-d2e1004e4fa8" providerId="ADAL" clId="{5457B722-58F4-4714-9FE2-45ED53C80D84}" dt="2024-02-28T14:12:38.375" v="29" actId="1036"/>
        <pc:sldMkLst>
          <pc:docMk/>
          <pc:sldMk cId="204404663" sldId="275"/>
        </pc:sldMkLst>
        <pc:spChg chg="mod">
          <ac:chgData name="Weigel Stefan (PAR-EPS)" userId="fd3b2067-2981-4ad8-bf3a-d2e1004e4fa8" providerId="ADAL" clId="{5457B722-58F4-4714-9FE2-45ED53C80D84}" dt="2024-02-28T14:10:58.979" v="0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457B722-58F4-4714-9FE2-45ED53C80D84}" dt="2024-02-28T14:12:38.375" v="29" actId="1036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5457B722-58F4-4714-9FE2-45ED53C80D84}" dt="2024-02-28T14:11:13.672" v="1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5457B722-58F4-4714-9FE2-45ED53C80D84}" dt="2024-02-28T14:12:30.448" v="15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Weigel Stefan (PAR-EPS)" userId="fd3b2067-2981-4ad8-bf3a-d2e1004e4fa8" providerId="ADAL" clId="{250AA64F-BC87-40F6-919C-6926882F456C}"/>
    <pc:docChg chg="modSld">
      <pc:chgData name="Weigel Stefan (PAR-EPS)" userId="fd3b2067-2981-4ad8-bf3a-d2e1004e4fa8" providerId="ADAL" clId="{250AA64F-BC87-40F6-919C-6926882F456C}" dt="2024-05-08T12:23:55.715" v="2" actId="27918"/>
      <pc:docMkLst>
        <pc:docMk/>
      </pc:docMkLst>
      <pc:sldChg chg="mod">
        <pc:chgData name="Weigel Stefan (PAR-EPS)" userId="fd3b2067-2981-4ad8-bf3a-d2e1004e4fa8" providerId="ADAL" clId="{250AA64F-BC87-40F6-919C-6926882F456C}" dt="2024-05-08T12:23:55.715" v="2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09:34.019" v="68"/>
      <pc:docMkLst>
        <pc:docMk/>
      </pc:docMkLst>
      <pc:sldChg chg="modSp mod">
        <pc:chgData name="Weigel Stefan (PAR-EPS)" userId="fd3b2067-2981-4ad8-bf3a-d2e1004e4fa8" providerId="ADAL" clId="{98DA33D0-7B59-4DCE-A599-58F26EAA669E}" dt="2024-02-28T14:09:34.019" v="68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09:15.285" v="64" actId="1036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09:34.019" v="68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6905741787173750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SBB infrastructur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1-A963-4915-9A71-93624751F013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  <c:pt idx="17">
                  <c:v>2043.87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Other infrastructure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0-A963-4915-9A71-93624751F013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  <c:pt idx="17">
                  <c:v>270.11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Proportion of traction current from renewable sources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1.84</c:v>
                </c:pt>
                <c:pt idx="17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444444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,##0;\-#\,##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2.6866770785883173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127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8048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ilway electricity consumption and proportion of renewable energy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72370970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81645" y="5526560"/>
            <a:ext cx="4505682" cy="170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100" kern="0" spc="0" dirty="0">
                <a:solidFill>
                  <a:srgbClr val="444444"/>
                </a:solidFill>
              </a:rPr>
              <a:t>Rail power provided by SBB Infrastructure Energy to train services for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7C000A-1ECB-4A16-941B-A400C27363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2f5c8543-cf23-4718-a3b8-32b0a91d511a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ailway electricity consumption and proportion of renewable energy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way electricity consumption and proportion of renewable energy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